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86CE78-4599-4D10-96F1-DED3EA402F7C}" v="28" dt="2023-01-31T22:38:57.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2-23T00:59:52.374" v="249" actId="27918"/>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
        <pc:chgData name="Roberto Gallardo" userId="49a044883f185952" providerId="LiveId" clId="{C686CE78-4599-4D10-96F1-DED3EA402F7C}" dt="2023-02-23T00:59:52.374" v="249" actId="27918"/>
        <pc:sldMkLst>
          <pc:docMk/>
          <pc:sldMk cId="3231157596" sldId="257"/>
        </pc:sldMkLst>
      </pc:sldChg>
      <pc:sldChg chg="mod">
        <pc:chgData name="Roberto Gallardo" userId="49a044883f185952" providerId="LiveId" clId="{C686CE78-4599-4D10-96F1-DED3EA402F7C}" dt="2023-02-23T00:59:09.380" v="237" actId="27918"/>
        <pc:sldMkLst>
          <pc:docMk/>
          <pc:sldMk cId="3702837515" sldId="258"/>
        </pc:sldMkLst>
      </pc:sldChg>
      <pc:sldChg chg="mod">
        <pc:chgData name="Roberto Gallardo" userId="49a044883f185952" providerId="LiveId" clId="{C686CE78-4599-4D10-96F1-DED3EA402F7C}" dt="2023-02-23T00:59:30.682" v="243" actId="27918"/>
        <pc:sldMkLst>
          <pc:docMk/>
          <pc:sldMk cId="2519083202" sldId="259"/>
        </pc:sldMkLst>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Western Piedmont</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158034233340743</c:v>
                </c:pt>
                <c:pt idx="2">
                  <c:v>1.029356543150767</c:v>
                </c:pt>
                <c:pt idx="3">
                  <c:v>1.0458507891451925</c:v>
                </c:pt>
                <c:pt idx="4">
                  <c:v>1.0635693644089534</c:v>
                </c:pt>
                <c:pt idx="5">
                  <c:v>1.0825943468818933</c:v>
                </c:pt>
                <c:pt idx="6">
                  <c:v>1.1008874677245601</c:v>
                </c:pt>
                <c:pt idx="7">
                  <c:v>1.1200766060771874</c:v>
                </c:pt>
                <c:pt idx="8">
                  <c:v>1.1383560472632137</c:v>
                </c:pt>
                <c:pt idx="9">
                  <c:v>1.155777089995041</c:v>
                </c:pt>
                <c:pt idx="10">
                  <c:v>1.1739539337562628</c:v>
                </c:pt>
                <c:pt idx="11">
                  <c:v>1.186747832629401</c:v>
                </c:pt>
                <c:pt idx="12">
                  <c:v>1.1911903011234417</c:v>
                </c:pt>
                <c:pt idx="13">
                  <c:v>1.1941793060994168</c:v>
                </c:pt>
                <c:pt idx="14">
                  <c:v>1.2005950650638668</c:v>
                </c:pt>
                <c:pt idx="15">
                  <c:v>1.2097706947555615</c:v>
                </c:pt>
                <c:pt idx="16">
                  <c:v>1.220683640840615</c:v>
                </c:pt>
                <c:pt idx="17">
                  <c:v>1.2324515654657069</c:v>
                </c:pt>
                <c:pt idx="18">
                  <c:v>1.2431900959285922</c:v>
                </c:pt>
                <c:pt idx="19">
                  <c:v>1.2484841230485115</c:v>
                </c:pt>
                <c:pt idx="20">
                  <c:v>1.2502009199569091</c:v>
                </c:pt>
                <c:pt idx="21">
                  <c:v>1.2464834732648211</c:v>
                </c:pt>
                <c:pt idx="22">
                  <c:v>1.2437201826234161</c:v>
                </c:pt>
                <c:pt idx="23">
                  <c:v>1.2427249876028112</c:v>
                </c:pt>
                <c:pt idx="24">
                  <c:v>1.2415485371317181</c:v>
                </c:pt>
                <c:pt idx="25">
                  <c:v>1.242612130435526</c:v>
                </c:pt>
                <c:pt idx="26">
                  <c:v>1.2475778457960705</c:v>
                </c:pt>
                <c:pt idx="27">
                  <c:v>1.255399189480344</c:v>
                </c:pt>
                <c:pt idx="28">
                  <c:v>1.260063952394795</c:v>
                </c:pt>
                <c:pt idx="29">
                  <c:v>1.2643798840649099</c:v>
                </c:pt>
                <c:pt idx="30">
                  <c:v>1.249072348284058</c:v>
                </c:pt>
                <c:pt idx="31">
                  <c:v>1.2531967647612046</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7.2834817259199296</c:v>
                </c:pt>
                <c:pt idx="1">
                  <c:v>17.359767891682782</c:v>
                </c:pt>
                <c:pt idx="2">
                  <c:v>10.483042137718398</c:v>
                </c:pt>
                <c:pt idx="3">
                  <c:v>4.6454834815058721</c:v>
                </c:pt>
                <c:pt idx="4">
                  <c:v>10</c:v>
                </c:pt>
                <c:pt idx="5">
                  <c:v>50.9</c:v>
                </c:pt>
                <c:pt idx="6">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1.7651453832264492</c:v>
                </c:pt>
                <c:pt idx="1">
                  <c:v>2.34092148985766</c:v>
                </c:pt>
                <c:pt idx="2">
                  <c:v>2.5956377754938904</c:v>
                </c:pt>
                <c:pt idx="3">
                  <c:v>0.19207551311601359</c:v>
                </c:pt>
                <c:pt idx="4">
                  <c:v>1.9</c:v>
                </c:pt>
                <c:pt idx="5">
                  <c:v>18</c:v>
                </c:pt>
                <c:pt idx="6">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48.217565926710051</c:v>
                </c:pt>
                <c:pt idx="1">
                  <c:v>63.070971581609882</c:v>
                </c:pt>
                <c:pt idx="2">
                  <c:v>69.397053785542994</c:v>
                </c:pt>
                <c:pt idx="3">
                  <c:v>86.305015914828232</c:v>
                </c:pt>
                <c:pt idx="4">
                  <c:v>60.4</c:v>
                </c:pt>
                <c:pt idx="5">
                  <c:v>40.700000000000003</c:v>
                </c:pt>
                <c:pt idx="6">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13.873193643899267</c:v>
                </c:pt>
                <c:pt idx="1">
                  <c:v>19.119377205937571</c:v>
                </c:pt>
                <c:pt idx="2">
                  <c:v>20.823761267827365</c:v>
                </c:pt>
                <c:pt idx="3">
                  <c:v>16.926125106142091</c:v>
                </c:pt>
                <c:pt idx="4">
                  <c:v>17</c:v>
                </c:pt>
                <c:pt idx="5">
                  <c:v>13.2</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7.2179543900575158</c:v>
                </c:pt>
                <c:pt idx="1">
                  <c:v>7.2117328688295128</c:v>
                </c:pt>
                <c:pt idx="2">
                  <c:v>6.7508893806549199</c:v>
                </c:pt>
                <c:pt idx="3">
                  <c:v>6.1578639909281465</c:v>
                </c:pt>
                <c:pt idx="4">
                  <c:v>7</c:v>
                </c:pt>
                <c:pt idx="5">
                  <c:v>8</c:v>
                </c:pt>
                <c:pt idx="6">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25.847033505993039</c:v>
                </c:pt>
                <c:pt idx="1">
                  <c:v>13.5580199491977</c:v>
                </c:pt>
                <c:pt idx="2">
                  <c:v>19.060902435414278</c:v>
                </c:pt>
                <c:pt idx="3">
                  <c:v>13.7</c:v>
                </c:pt>
                <c:pt idx="4">
                  <c:v>20.3</c:v>
                </c:pt>
                <c:pt idx="5">
                  <c:v>37.9</c:v>
                </c:pt>
                <c:pt idx="6">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12.81915673168214</c:v>
                </c:pt>
                <c:pt idx="1">
                  <c:v>13.401906294796669</c:v>
                </c:pt>
                <c:pt idx="2">
                  <c:v>18.120985950094173</c:v>
                </c:pt>
                <c:pt idx="3">
                  <c:v>11.545358799920297</c:v>
                </c:pt>
                <c:pt idx="4">
                  <c:v>14.1</c:v>
                </c:pt>
                <c:pt idx="5">
                  <c:v>13.7</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42.599312150948158</c:v>
                </c:pt>
                <c:pt idx="1">
                  <c:v>47.261306532663319</c:v>
                </c:pt>
                <c:pt idx="2">
                  <c:v>47.463346520828487</c:v>
                </c:pt>
                <c:pt idx="3">
                  <c:v>49.147895672791932</c:v>
                </c:pt>
                <c:pt idx="4">
                  <c:v>45.4</c:v>
                </c:pt>
                <c:pt idx="5">
                  <c:v>39.700000000000003</c:v>
                </c:pt>
                <c:pt idx="6">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30.423014545798754</c:v>
                </c:pt>
                <c:pt idx="1">
                  <c:v>28.820891959798995</c:v>
                </c:pt>
                <c:pt idx="2">
                  <c:v>26.014457761228766</c:v>
                </c:pt>
                <c:pt idx="3">
                  <c:v>29.719531713100178</c:v>
                </c:pt>
                <c:pt idx="4">
                  <c:v>28.9</c:v>
                </c:pt>
                <c:pt idx="5">
                  <c:v>30</c:v>
                </c:pt>
                <c:pt idx="6">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7.29651358823926</c:v>
                </c:pt>
                <c:pt idx="1">
                  <c:v>8.4047127923644371</c:v>
                </c:pt>
                <c:pt idx="2">
                  <c:v>5.3150130478777227</c:v>
                </c:pt>
                <c:pt idx="3">
                  <c:v>6.4757686020144494</c:v>
                </c:pt>
                <c:pt idx="4">
                  <c:v>9.6</c:v>
                </c:pt>
                <c:pt idx="5">
                  <c:v>12</c:v>
                </c:pt>
                <c:pt idx="6">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B$2:$B$4</c:f>
              <c:numCache>
                <c:formatCode>#,##0.0</c:formatCode>
                <c:ptCount val="3"/>
                <c:pt idx="0">
                  <c:v>79.723029952559358</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C$2:$C$4</c:f>
              <c:numCache>
                <c:formatCode>#,##0.0</c:formatCode>
                <c:ptCount val="3"/>
                <c:pt idx="0">
                  <c:v>6.4312083249971908</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D$2:$D$4</c:f>
              <c:numCache>
                <c:formatCode>#,##0.0</c:formatCode>
                <c:ptCount val="3"/>
                <c:pt idx="0">
                  <c:v>3.0533577068436761</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E$2:$E$4</c:f>
              <c:numCache>
                <c:formatCode>#,##0.0</c:formatCode>
                <c:ptCount val="3"/>
                <c:pt idx="0">
                  <c:v>7.8377096939516608</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F$2:$F$4</c:f>
              <c:numCache>
                <c:formatCode>#,##0.0</c:formatCode>
                <c:ptCount val="3"/>
                <c:pt idx="0">
                  <c:v>2.9546943216481196</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6.7969121437329525</c:v>
                </c:pt>
                <c:pt idx="1">
                  <c:v>3.0283129917601141</c:v>
                </c:pt>
                <c:pt idx="2">
                  <c:v>4.9197873139851298</c:v>
                </c:pt>
                <c:pt idx="3">
                  <c:v>3.2090104409306401</c:v>
                </c:pt>
                <c:pt idx="4">
                  <c:v>5.2</c:v>
                </c:pt>
                <c:pt idx="5">
                  <c:v>8.1999999999999993</c:v>
                </c:pt>
                <c:pt idx="6">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3.7788070492544059</c:v>
                </c:pt>
                <c:pt idx="1">
                  <c:v>3.0323408938069325</c:v>
                </c:pt>
                <c:pt idx="2">
                  <c:v>8.4838769344595839</c:v>
                </c:pt>
                <c:pt idx="3">
                  <c:v>3.7122341146186155</c:v>
                </c:pt>
                <c:pt idx="4">
                  <c:v>4.5999999999999996</c:v>
                </c:pt>
                <c:pt idx="5">
                  <c:v>5.7</c:v>
                </c:pt>
                <c:pt idx="6">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18.934526817295893</c:v>
                </c:pt>
                <c:pt idx="1">
                  <c:v>26.151727591387079</c:v>
                </c:pt>
                <c:pt idx="2">
                  <c:v>23.579874797124972</c:v>
                </c:pt>
                <c:pt idx="3">
                  <c:v>23.998336337169</c:v>
                </c:pt>
                <c:pt idx="4">
                  <c:v>22.3</c:v>
                </c:pt>
                <c:pt idx="5">
                  <c:v>15.9</c:v>
                </c:pt>
                <c:pt idx="6">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6.8763504145364927</c:v>
                </c:pt>
                <c:pt idx="1">
                  <c:v>6.2696112649183862</c:v>
                </c:pt>
                <c:pt idx="2">
                  <c:v>5.7645379870305815</c:v>
                </c:pt>
                <c:pt idx="3">
                  <c:v>4.9049942494450987</c:v>
                </c:pt>
                <c:pt idx="4">
                  <c:v>6.3</c:v>
                </c:pt>
                <c:pt idx="5">
                  <c:v>6.8</c:v>
                </c:pt>
                <c:pt idx="6">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18.065503423468904</c:v>
                </c:pt>
                <c:pt idx="1">
                  <c:v>50.907663316582919</c:v>
                </c:pt>
                <c:pt idx="2">
                  <c:v>48.356411449848729</c:v>
                </c:pt>
                <c:pt idx="3">
                  <c:v>29.979253112033195</c:v>
                </c:pt>
                <c:pt idx="4">
                  <c:v>33.799999999999997</c:v>
                </c:pt>
                <c:pt idx="5">
                  <c:v>20.7</c:v>
                </c:pt>
                <c:pt idx="6">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awba</c:v>
                </c:pt>
                <c:pt idx="1">
                  <c:v>Caldwell</c:v>
                </c:pt>
                <c:pt idx="2">
                  <c:v>Burke</c:v>
                </c:pt>
                <c:pt idx="3">
                  <c:v>Alexander</c:v>
                </c:pt>
                <c:pt idx="4">
                  <c:v>Western Piedmont</c:v>
                </c:pt>
                <c:pt idx="5">
                  <c:v>North Carolina</c:v>
                </c:pt>
                <c:pt idx="6">
                  <c:v>United States</c:v>
                </c:pt>
              </c:strCache>
            </c:strRef>
          </c:cat>
          <c:val>
            <c:numRef>
              <c:f>Sheet1!$B$2:$B$8</c:f>
              <c:numCache>
                <c:formatCode>0.0</c:formatCode>
                <c:ptCount val="7"/>
                <c:pt idx="0">
                  <c:v>36.602719843498562</c:v>
                </c:pt>
                <c:pt idx="1">
                  <c:v>84.632537688442213</c:v>
                </c:pt>
                <c:pt idx="2">
                  <c:v>92.838026530137313</c:v>
                </c:pt>
                <c:pt idx="3">
                  <c:v>48.814463544753998</c:v>
                </c:pt>
                <c:pt idx="4">
                  <c:v>62</c:v>
                </c:pt>
                <c:pt idx="5">
                  <c:v>29.7</c:v>
                </c:pt>
                <c:pt idx="6">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B$2:$B$4</c:f>
              <c:numCache>
                <c:formatCode>0.00</c:formatCode>
                <c:ptCount val="3"/>
                <c:pt idx="0">
                  <c:v>3.9456284717007351</c:v>
                </c:pt>
                <c:pt idx="1">
                  <c:v>4.4296238962062287</c:v>
                </c:pt>
                <c:pt idx="2">
                  <c:v>3.35</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B$2:$B$4</c:f>
              <c:numCache>
                <c:formatCode>0.0</c:formatCode>
                <c:ptCount val="3"/>
                <c:pt idx="0">
                  <c:v>9.6993852410295798</c:v>
                </c:pt>
                <c:pt idx="1">
                  <c:v>10.285900434333007</c:v>
                </c:pt>
                <c:pt idx="2" formatCode="#,##0.0">
                  <c:v>4.900000000000000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C$2:$C$4</c:f>
              <c:numCache>
                <c:formatCode>0.0</c:formatCode>
                <c:ptCount val="3"/>
                <c:pt idx="0">
                  <c:v>9.5092908053327836</c:v>
                </c:pt>
                <c:pt idx="1">
                  <c:v>10.158199176779275</c:v>
                </c:pt>
                <c:pt idx="2" formatCode="#,##0.0">
                  <c:v>4.7</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B$2:$B$4</c:f>
              <c:numCache>
                <c:formatCode>0.0</c:formatCode>
                <c:ptCount val="3"/>
                <c:pt idx="0">
                  <c:v>35.163543124718231</c:v>
                </c:pt>
                <c:pt idx="1">
                  <c:v>32.670704756158578</c:v>
                </c:pt>
                <c:pt idx="2">
                  <c:v>26.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C$2:$C$4</c:f>
              <c:numCache>
                <c:formatCode>0.0</c:formatCode>
                <c:ptCount val="3"/>
                <c:pt idx="0">
                  <c:v>9.5092908053327836</c:v>
                </c:pt>
                <c:pt idx="1">
                  <c:v>10.158199176779275</c:v>
                </c:pt>
                <c:pt idx="2">
                  <c:v>4.7</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B$2:$B$4</c:f>
              <c:numCache>
                <c:formatCode>0.0</c:formatCode>
                <c:ptCount val="3"/>
                <c:pt idx="0">
                  <c:v>3.4315339366940902</c:v>
                </c:pt>
                <c:pt idx="1">
                  <c:v>3.1906212529243381</c:v>
                </c:pt>
                <c:pt idx="2" formatCode="#,##0.0">
                  <c:v>3.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B$2:$B$4</c:f>
              <c:numCache>
                <c:formatCode>#,##0.0</c:formatCode>
                <c:ptCount val="3"/>
                <c:pt idx="0">
                  <c:v>20.712733332054363</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C$2:$C$4</c:f>
              <c:numCache>
                <c:formatCode>#,##0.0</c:formatCode>
                <c:ptCount val="3"/>
                <c:pt idx="0">
                  <c:v>8.1372626940037325</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D$2:$D$4</c:f>
              <c:numCache>
                <c:formatCode>#,##0.0</c:formatCode>
                <c:ptCount val="3"/>
                <c:pt idx="0">
                  <c:v>37.427132979058698</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E$2:$E$4</c:f>
              <c:numCache>
                <c:formatCode>#,##0.0</c:formatCode>
                <c:ptCount val="3"/>
                <c:pt idx="0">
                  <c:v>14.606017918367012</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F$2:$F$4</c:f>
              <c:numCache>
                <c:formatCode>#,##0.0</c:formatCode>
                <c:ptCount val="3"/>
                <c:pt idx="0">
                  <c:v>19.116853076516197</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B$2:$B$4</c:f>
              <c:numCache>
                <c:formatCode>0.0</c:formatCode>
                <c:ptCount val="3"/>
                <c:pt idx="0">
                  <c:v>28.70828963274613</c:v>
                </c:pt>
                <c:pt idx="1">
                  <c:v>28.399462765329204</c:v>
                </c:pt>
                <c:pt idx="2">
                  <c:v>32.70407668346800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C$2:$C$4</c:f>
              <c:numCache>
                <c:formatCode>0.0</c:formatCode>
                <c:ptCount val="3"/>
                <c:pt idx="0">
                  <c:v>41.555902088108759</c:v>
                </c:pt>
                <c:pt idx="1">
                  <c:v>42.725477774104526</c:v>
                </c:pt>
                <c:pt idx="2">
                  <c:v>44.24437976395886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Western Piedmont</c:v>
                </c:pt>
              </c:strCache>
            </c:strRef>
          </c:cat>
          <c:val>
            <c:numRef>
              <c:f>Sheet1!$D$2:$D$4</c:f>
              <c:numCache>
                <c:formatCode>0.0</c:formatCode>
                <c:ptCount val="3"/>
                <c:pt idx="0">
                  <c:v>29.735808279145072</c:v>
                </c:pt>
                <c:pt idx="1">
                  <c:v>28.875059460566249</c:v>
                </c:pt>
                <c:pt idx="2">
                  <c:v>23.051543552573126</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B$2:$B$4</c:f>
              <c:numCache>
                <c:formatCode>#,##0.0</c:formatCode>
                <c:ptCount val="3"/>
                <c:pt idx="0">
                  <c:v>15.561804244828782</c:v>
                </c:pt>
                <c:pt idx="1">
                  <c:v>10.962591300115909</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C$2:$C$4</c:f>
              <c:numCache>
                <c:formatCode>#,##0.0</c:formatCode>
                <c:ptCount val="3"/>
                <c:pt idx="0">
                  <c:v>31.78344439736528</c:v>
                </c:pt>
                <c:pt idx="1">
                  <c:v>25.231126134035375</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D$2:$D$4</c:f>
              <c:numCache>
                <c:formatCode>#,##0.0</c:formatCode>
                <c:ptCount val="3"/>
                <c:pt idx="0">
                  <c:v>32.555371518816692</c:v>
                </c:pt>
                <c:pt idx="1">
                  <c:v>30.789995477690791</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estern Piedmont</c:v>
                </c:pt>
                <c:pt idx="1">
                  <c:v>North Carolina</c:v>
                </c:pt>
                <c:pt idx="2">
                  <c:v>United States</c:v>
                </c:pt>
              </c:strCache>
            </c:strRef>
          </c:cat>
          <c:val>
            <c:numRef>
              <c:f>Sheet1!$E$2:$E$4</c:f>
              <c:numCache>
                <c:formatCode>#,##0.0</c:formatCode>
                <c:ptCount val="3"/>
                <c:pt idx="0">
                  <c:v>20.099379838989254</c:v>
                </c:pt>
                <c:pt idx="1">
                  <c:v>33.016287088157931</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Western Piedmo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6.4254121431443503</c:v>
                </c:pt>
                <c:pt idx="1">
                  <c:v>4.6039153198269975</c:v>
                </c:pt>
                <c:pt idx="2">
                  <c:v>4.020852975431201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Western Piedmo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5.8</c:v>
                </c:pt>
                <c:pt idx="1">
                  <c:v>5.4</c:v>
                </c:pt>
                <c:pt idx="2">
                  <c:v>9.1999999999999993</c:v>
                </c:pt>
                <c:pt idx="3">
                  <c:v>7.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Western Piedmo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7.4</c:v>
                </c:pt>
                <c:pt idx="1">
                  <c:v>9.9</c:v>
                </c:pt>
                <c:pt idx="2">
                  <c:v>5.0999999999999996</c:v>
                </c:pt>
                <c:pt idx="3">
                  <c:v>3.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Western Piedmo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4.704616120545325</c:v>
                </c:pt>
                <c:pt idx="1">
                  <c:v>47.153736930424678</c:v>
                </c:pt>
                <c:pt idx="2">
                  <c:v>28.480984831831176</c:v>
                </c:pt>
                <c:pt idx="3">
                  <c:v>15.531244028282057</c:v>
                </c:pt>
                <c:pt idx="4">
                  <c:v>10.983243992952731</c:v>
                </c:pt>
                <c:pt idx="5" formatCode="0.0">
                  <c:v>5.706921944035346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Western Piedmo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1.9</c:v>
                </c:pt>
                <c:pt idx="1">
                  <c:v>16</c:v>
                </c:pt>
                <c:pt idx="2">
                  <c:v>18.7</c:v>
                </c:pt>
                <c:pt idx="3">
                  <c:v>11.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Western Piedmont</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18628103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7606952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A324F2A-B126-1213-F38B-7FC8BB6EC3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Diagram, map&#10;&#10;Description automatically generated">
            <a:extLst>
              <a:ext uri="{FF2B5EF4-FFF2-40B4-BE49-F238E27FC236}">
                <a16:creationId xmlns:a16="http://schemas.microsoft.com/office/drawing/2014/main" id="{EC553BCD-1BFE-BD14-331F-7EFEA6532C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46481"/>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889EED2-D6E5-E4E3-73B3-31E3AF961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860" y="1035426"/>
            <a:ext cx="7602280" cy="5376007"/>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89073976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F5F485D3-05AE-5D7F-37DB-43ABCEBD37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60906323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C8B8A69D-FF68-B96E-56CB-FCCDC75BF6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3100"/>
            <a:ext cx="7244376" cy="512291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8070395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7" name="Picture 6" descr="Diagram, map&#10;&#10;Description automatically generated">
            <a:extLst>
              <a:ext uri="{FF2B5EF4-FFF2-40B4-BE49-F238E27FC236}">
                <a16:creationId xmlns:a16="http://schemas.microsoft.com/office/drawing/2014/main" id="{A60F00B6-02AC-6AA9-3D46-B7D23CB693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1333" y="1160987"/>
            <a:ext cx="7222067" cy="5107137"/>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9976693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map&#10;&#10;Description automatically generated">
            <a:extLst>
              <a:ext uri="{FF2B5EF4-FFF2-40B4-BE49-F238E27FC236}">
                <a16:creationId xmlns:a16="http://schemas.microsoft.com/office/drawing/2014/main" id="{B2C7F90E-076E-E7F4-6353-0557D09C4D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7440491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60C7A0C-0951-FADF-30D5-25F9F86F74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8501676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5820370-CCF1-A1EF-BE00-D7215C0A7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47622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51A0082B-6724-5BA2-83DB-9E6F050C41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7585568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530164EF-188D-6031-69E1-DAEB594BD7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5010658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1384F42-FB82-8586-B860-364340637A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2876852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E9D876E-9747-F78D-891D-F8A446A515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0002434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B48EF86A-52C3-AB58-168F-16F2880765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2289065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map&#10;&#10;Description automatically generated">
            <a:extLst>
              <a:ext uri="{FF2B5EF4-FFF2-40B4-BE49-F238E27FC236}">
                <a16:creationId xmlns:a16="http://schemas.microsoft.com/office/drawing/2014/main" id="{B56955DC-09E5-145F-D5EA-7A4828711A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78950656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914859F-2C47-69E5-C8E5-153B565AD6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2307775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E81B59CA-9234-ED7C-9930-EBA794BB98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7071332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with medium confidence">
            <a:extLst>
              <a:ext uri="{FF2B5EF4-FFF2-40B4-BE49-F238E27FC236}">
                <a16:creationId xmlns:a16="http://schemas.microsoft.com/office/drawing/2014/main" id="{FBDED459-655E-6F8F-68B1-AF4AA58F1F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61323920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0648195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A8C2B9C6-FE6E-6FFB-23EF-BFF18FD3AD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4739489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10015570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02229278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4679" y="342975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5</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96597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87638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44228" y="2887836"/>
            <a:ext cx="0" cy="4993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408715"/>
            <a:ext cx="0" cy="55054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9871483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51532687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56734883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413054105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56060413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71993448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79978183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3083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51</TotalTime>
  <Words>1476</Words>
  <Application>Microsoft Office PowerPoint</Application>
  <PresentationFormat>Widescreen</PresentationFormat>
  <Paragraphs>141</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0:59:57Z</dcterms:modified>
</cp:coreProperties>
</file>